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157" d="100"/>
          <a:sy n="157" d="100"/>
        </p:scale>
        <p:origin x="100" y="172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51E9D9-7CC4-6C38-C3F1-913E09121C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21:5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